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7"/>
  </p:notesMasterIdLst>
  <p:sldIdLst>
    <p:sldId id="1442" r:id="rId2"/>
    <p:sldId id="1512" r:id="rId3"/>
    <p:sldId id="1513" r:id="rId4"/>
    <p:sldId id="1515" r:id="rId5"/>
    <p:sldId id="1489"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112" d="100"/>
          <a:sy n="112" d="100"/>
        </p:scale>
        <p:origin x="558" y="96"/>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oleObject" Target="file:///C:\Users\JacquesM\Documents\Flatscreen%20Data\Tractors\Tractor%20and%20Harvester%20Database.xlsx" TargetMode="External"/><Relationship Id="rId1" Type="http://schemas.openxmlformats.org/officeDocument/2006/relationships/image" Target="../media/image9.jpg"/></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Monthly flow of tractor and combine harvester sales (Source: SA Agricultural Machinery Association)</a:t>
            </a:r>
          </a:p>
        </c:rich>
      </c:tx>
      <c:overlay val="0"/>
    </c:title>
    <c:autoTitleDeleted val="0"/>
    <c:plotArea>
      <c:layout/>
      <c:areaChart>
        <c:grouping val="standard"/>
        <c:varyColors val="0"/>
        <c:ser>
          <c:idx val="1"/>
          <c:order val="1"/>
          <c:tx>
            <c:strRef>
              <c:f>Sheet1!$D$1</c:f>
              <c:strCache>
                <c:ptCount val="1"/>
                <c:pt idx="0">
                  <c:v>Combine Harvesters</c:v>
                </c:pt>
              </c:strCache>
            </c:strRef>
          </c:tx>
          <c:spPr>
            <a:solidFill>
              <a:schemeClr val="bg2">
                <a:lumMod val="50000"/>
                <a:alpha val="36000"/>
              </a:schemeClr>
            </a:solidFill>
          </c:spPr>
          <c:cat>
            <c:numRef>
              <c:f>Sheet1!$B$2:$B$180</c:f>
              <c:numCache>
                <c:formatCode>General</c:formatCode>
                <c:ptCount val="179"/>
                <c:pt idx="0">
                  <c:v>2011</c:v>
                </c:pt>
                <c:pt idx="12">
                  <c:v>2012</c:v>
                </c:pt>
                <c:pt idx="24">
                  <c:v>2013</c:v>
                </c:pt>
                <c:pt idx="36">
                  <c:v>2014</c:v>
                </c:pt>
                <c:pt idx="48">
                  <c:v>2015</c:v>
                </c:pt>
                <c:pt idx="60">
                  <c:v>2016</c:v>
                </c:pt>
                <c:pt idx="72">
                  <c:v>2017</c:v>
                </c:pt>
                <c:pt idx="84">
                  <c:v>2018</c:v>
                </c:pt>
                <c:pt idx="96">
                  <c:v>2019</c:v>
                </c:pt>
                <c:pt idx="108">
                  <c:v>2020</c:v>
                </c:pt>
                <c:pt idx="120">
                  <c:v>2021</c:v>
                </c:pt>
                <c:pt idx="132">
                  <c:v>2022</c:v>
                </c:pt>
                <c:pt idx="144">
                  <c:v>2023</c:v>
                </c:pt>
                <c:pt idx="156">
                  <c:v>2024</c:v>
                </c:pt>
                <c:pt idx="168">
                  <c:v>2025</c:v>
                </c:pt>
              </c:numCache>
            </c:numRef>
          </c:cat>
          <c:val>
            <c:numRef>
              <c:f>Sheet1!$D$2:$D$180</c:f>
              <c:numCache>
                <c:formatCode>General</c:formatCode>
                <c:ptCount val="179"/>
                <c:pt idx="0">
                  <c:v>10</c:v>
                </c:pt>
                <c:pt idx="1">
                  <c:v>27</c:v>
                </c:pt>
                <c:pt idx="2">
                  <c:v>15</c:v>
                </c:pt>
                <c:pt idx="3">
                  <c:v>44</c:v>
                </c:pt>
                <c:pt idx="4">
                  <c:v>30</c:v>
                </c:pt>
                <c:pt idx="5">
                  <c:v>22</c:v>
                </c:pt>
                <c:pt idx="6">
                  <c:v>20</c:v>
                </c:pt>
                <c:pt idx="7">
                  <c:v>10</c:v>
                </c:pt>
                <c:pt idx="8">
                  <c:v>19</c:v>
                </c:pt>
                <c:pt idx="9">
                  <c:v>45</c:v>
                </c:pt>
                <c:pt idx="10">
                  <c:v>17</c:v>
                </c:pt>
                <c:pt idx="11">
                  <c:v>5</c:v>
                </c:pt>
                <c:pt idx="12">
                  <c:v>17</c:v>
                </c:pt>
                <c:pt idx="13">
                  <c:v>20</c:v>
                </c:pt>
                <c:pt idx="14">
                  <c:v>23</c:v>
                </c:pt>
                <c:pt idx="15">
                  <c:v>64</c:v>
                </c:pt>
                <c:pt idx="16">
                  <c:v>55</c:v>
                </c:pt>
                <c:pt idx="17">
                  <c:v>42</c:v>
                </c:pt>
                <c:pt idx="18">
                  <c:v>33</c:v>
                </c:pt>
                <c:pt idx="19">
                  <c:v>10</c:v>
                </c:pt>
                <c:pt idx="20">
                  <c:v>21</c:v>
                </c:pt>
                <c:pt idx="21">
                  <c:v>34</c:v>
                </c:pt>
                <c:pt idx="22">
                  <c:v>15</c:v>
                </c:pt>
                <c:pt idx="23">
                  <c:v>11</c:v>
                </c:pt>
                <c:pt idx="24">
                  <c:v>27</c:v>
                </c:pt>
                <c:pt idx="25">
                  <c:v>37</c:v>
                </c:pt>
                <c:pt idx="26">
                  <c:v>72</c:v>
                </c:pt>
                <c:pt idx="27">
                  <c:v>53</c:v>
                </c:pt>
                <c:pt idx="28">
                  <c:v>28</c:v>
                </c:pt>
                <c:pt idx="29">
                  <c:v>29</c:v>
                </c:pt>
                <c:pt idx="30">
                  <c:v>15</c:v>
                </c:pt>
                <c:pt idx="31">
                  <c:v>18</c:v>
                </c:pt>
                <c:pt idx="32">
                  <c:v>21</c:v>
                </c:pt>
                <c:pt idx="33">
                  <c:v>33</c:v>
                </c:pt>
                <c:pt idx="34">
                  <c:v>12</c:v>
                </c:pt>
                <c:pt idx="35">
                  <c:v>7</c:v>
                </c:pt>
                <c:pt idx="36">
                  <c:v>22</c:v>
                </c:pt>
                <c:pt idx="37">
                  <c:v>57</c:v>
                </c:pt>
                <c:pt idx="38">
                  <c:v>67</c:v>
                </c:pt>
                <c:pt idx="39">
                  <c:v>36</c:v>
                </c:pt>
                <c:pt idx="40">
                  <c:v>42</c:v>
                </c:pt>
                <c:pt idx="41">
                  <c:v>27</c:v>
                </c:pt>
                <c:pt idx="42">
                  <c:v>20</c:v>
                </c:pt>
                <c:pt idx="43">
                  <c:v>25</c:v>
                </c:pt>
                <c:pt idx="44">
                  <c:v>16</c:v>
                </c:pt>
                <c:pt idx="46">
                  <c:v>11</c:v>
                </c:pt>
                <c:pt idx="47">
                  <c:v>8</c:v>
                </c:pt>
                <c:pt idx="48">
                  <c:v>6</c:v>
                </c:pt>
                <c:pt idx="49">
                  <c:v>43</c:v>
                </c:pt>
                <c:pt idx="50">
                  <c:v>20</c:v>
                </c:pt>
                <c:pt idx="52">
                  <c:v>29</c:v>
                </c:pt>
                <c:pt idx="55">
                  <c:v>15</c:v>
                </c:pt>
                <c:pt idx="56">
                  <c:v>19</c:v>
                </c:pt>
                <c:pt idx="57">
                  <c:v>20</c:v>
                </c:pt>
                <c:pt idx="59">
                  <c:v>7</c:v>
                </c:pt>
                <c:pt idx="60">
                  <c:v>16</c:v>
                </c:pt>
                <c:pt idx="61">
                  <c:v>22</c:v>
                </c:pt>
                <c:pt idx="62">
                  <c:v>14</c:v>
                </c:pt>
                <c:pt idx="63">
                  <c:v>21</c:v>
                </c:pt>
                <c:pt idx="64">
                  <c:v>26</c:v>
                </c:pt>
                <c:pt idx="65">
                  <c:v>19</c:v>
                </c:pt>
                <c:pt idx="67">
                  <c:v>6</c:v>
                </c:pt>
                <c:pt idx="68">
                  <c:v>14</c:v>
                </c:pt>
                <c:pt idx="69">
                  <c:v>18</c:v>
                </c:pt>
                <c:pt idx="71">
                  <c:v>7</c:v>
                </c:pt>
                <c:pt idx="72">
                  <c:v>16</c:v>
                </c:pt>
                <c:pt idx="73">
                  <c:v>19</c:v>
                </c:pt>
                <c:pt idx="74">
                  <c:v>23</c:v>
                </c:pt>
                <c:pt idx="75">
                  <c:v>30</c:v>
                </c:pt>
                <c:pt idx="76">
                  <c:v>24</c:v>
                </c:pt>
                <c:pt idx="77">
                  <c:v>20</c:v>
                </c:pt>
                <c:pt idx="78">
                  <c:v>13</c:v>
                </c:pt>
                <c:pt idx="79">
                  <c:v>12</c:v>
                </c:pt>
                <c:pt idx="80">
                  <c:v>7</c:v>
                </c:pt>
                <c:pt idx="82">
                  <c:v>11</c:v>
                </c:pt>
                <c:pt idx="84">
                  <c:v>8</c:v>
                </c:pt>
                <c:pt idx="85">
                  <c:v>21</c:v>
                </c:pt>
                <c:pt idx="86">
                  <c:v>25</c:v>
                </c:pt>
                <c:pt idx="88">
                  <c:v>16</c:v>
                </c:pt>
                <c:pt idx="89">
                  <c:v>25</c:v>
                </c:pt>
                <c:pt idx="90">
                  <c:v>12</c:v>
                </c:pt>
                <c:pt idx="91">
                  <c:v>9</c:v>
                </c:pt>
                <c:pt idx="92">
                  <c:v>11</c:v>
                </c:pt>
                <c:pt idx="93">
                  <c:v>27</c:v>
                </c:pt>
                <c:pt idx="94">
                  <c:v>9</c:v>
                </c:pt>
                <c:pt idx="95">
                  <c:v>6</c:v>
                </c:pt>
                <c:pt idx="96">
                  <c:v>4</c:v>
                </c:pt>
                <c:pt idx="97">
                  <c:v>15</c:v>
                </c:pt>
                <c:pt idx="98">
                  <c:v>22</c:v>
                </c:pt>
                <c:pt idx="99">
                  <c:v>23</c:v>
                </c:pt>
                <c:pt idx="100">
                  <c:v>27</c:v>
                </c:pt>
                <c:pt idx="101">
                  <c:v>20</c:v>
                </c:pt>
                <c:pt idx="102">
                  <c:v>8</c:v>
                </c:pt>
                <c:pt idx="103">
                  <c:v>0</c:v>
                </c:pt>
                <c:pt idx="104">
                  <c:v>12</c:v>
                </c:pt>
                <c:pt idx="105">
                  <c:v>11</c:v>
                </c:pt>
                <c:pt idx="106">
                  <c:v>3</c:v>
                </c:pt>
                <c:pt idx="107">
                  <c:v>3</c:v>
                </c:pt>
                <c:pt idx="108">
                  <c:v>5</c:v>
                </c:pt>
                <c:pt idx="109">
                  <c:v>18</c:v>
                </c:pt>
                <c:pt idx="110">
                  <c:v>26</c:v>
                </c:pt>
                <c:pt idx="111">
                  <c:v>20</c:v>
                </c:pt>
                <c:pt idx="112">
                  <c:v>31</c:v>
                </c:pt>
                <c:pt idx="113">
                  <c:v>17</c:v>
                </c:pt>
                <c:pt idx="114">
                  <c:v>11</c:v>
                </c:pt>
                <c:pt idx="115">
                  <c:v>13</c:v>
                </c:pt>
                <c:pt idx="116">
                  <c:v>11</c:v>
                </c:pt>
                <c:pt idx="117">
                  <c:v>26</c:v>
                </c:pt>
                <c:pt idx="118">
                  <c:v>4</c:v>
                </c:pt>
                <c:pt idx="119">
                  <c:v>3</c:v>
                </c:pt>
                <c:pt idx="120">
                  <c:v>5</c:v>
                </c:pt>
                <c:pt idx="121">
                  <c:v>14</c:v>
                </c:pt>
                <c:pt idx="122">
                  <c:v>29</c:v>
                </c:pt>
                <c:pt idx="123">
                  <c:v>43</c:v>
                </c:pt>
                <c:pt idx="124">
                  <c:v>35</c:v>
                </c:pt>
                <c:pt idx="125">
                  <c:v>30</c:v>
                </c:pt>
                <c:pt idx="126">
                  <c:v>8</c:v>
                </c:pt>
                <c:pt idx="127">
                  <c:v>14</c:v>
                </c:pt>
                <c:pt idx="128">
                  <c:v>21</c:v>
                </c:pt>
                <c:pt idx="129">
                  <c:v>45</c:v>
                </c:pt>
                <c:pt idx="130">
                  <c:v>8</c:v>
                </c:pt>
                <c:pt idx="131">
                  <c:v>18</c:v>
                </c:pt>
                <c:pt idx="132">
                  <c:v>4</c:v>
                </c:pt>
                <c:pt idx="133">
                  <c:v>19</c:v>
                </c:pt>
                <c:pt idx="134">
                  <c:v>43</c:v>
                </c:pt>
                <c:pt idx="135">
                  <c:v>44</c:v>
                </c:pt>
                <c:pt idx="136">
                  <c:v>53</c:v>
                </c:pt>
                <c:pt idx="137">
                  <c:v>50</c:v>
                </c:pt>
                <c:pt idx="138">
                  <c:v>36</c:v>
                </c:pt>
                <c:pt idx="139">
                  <c:v>24</c:v>
                </c:pt>
                <c:pt idx="140">
                  <c:v>17</c:v>
                </c:pt>
                <c:pt idx="141">
                  <c:v>34</c:v>
                </c:pt>
                <c:pt idx="142">
                  <c:v>23</c:v>
                </c:pt>
                <c:pt idx="143">
                  <c:v>26</c:v>
                </c:pt>
                <c:pt idx="144">
                  <c:v>16</c:v>
                </c:pt>
                <c:pt idx="145">
                  <c:v>39</c:v>
                </c:pt>
                <c:pt idx="146">
                  <c:v>39</c:v>
                </c:pt>
                <c:pt idx="147">
                  <c:v>108</c:v>
                </c:pt>
                <c:pt idx="148">
                  <c:v>65</c:v>
                </c:pt>
                <c:pt idx="149">
                  <c:v>64</c:v>
                </c:pt>
                <c:pt idx="150">
                  <c:v>32</c:v>
                </c:pt>
                <c:pt idx="151">
                  <c:v>24</c:v>
                </c:pt>
                <c:pt idx="152">
                  <c:v>18</c:v>
                </c:pt>
                <c:pt idx="153">
                  <c:v>39</c:v>
                </c:pt>
                <c:pt idx="154">
                  <c:v>34</c:v>
                </c:pt>
                <c:pt idx="155">
                  <c:v>39</c:v>
                </c:pt>
                <c:pt idx="156">
                  <c:v>8</c:v>
                </c:pt>
                <c:pt idx="157">
                  <c:v>26</c:v>
                </c:pt>
                <c:pt idx="158">
                  <c:v>39</c:v>
                </c:pt>
                <c:pt idx="159">
                  <c:v>26</c:v>
                </c:pt>
                <c:pt idx="160">
                  <c:v>25</c:v>
                </c:pt>
                <c:pt idx="161">
                  <c:v>21</c:v>
                </c:pt>
                <c:pt idx="162">
                  <c:v>8</c:v>
                </c:pt>
                <c:pt idx="163">
                  <c:v>5</c:v>
                </c:pt>
                <c:pt idx="164">
                  <c:v>17</c:v>
                </c:pt>
                <c:pt idx="165">
                  <c:v>28</c:v>
                </c:pt>
                <c:pt idx="166">
                  <c:v>13</c:v>
                </c:pt>
                <c:pt idx="167">
                  <c:v>6</c:v>
                </c:pt>
                <c:pt idx="168">
                  <c:v>5</c:v>
                </c:pt>
                <c:pt idx="169">
                  <c:v>19</c:v>
                </c:pt>
                <c:pt idx="170">
                  <c:v>37</c:v>
                </c:pt>
                <c:pt idx="171">
                  <c:v>46</c:v>
                </c:pt>
                <c:pt idx="172">
                  <c:v>41</c:v>
                </c:pt>
                <c:pt idx="173">
                  <c:v>13</c:v>
                </c:pt>
                <c:pt idx="174">
                  <c:v>6</c:v>
                </c:pt>
                <c:pt idx="175">
                  <c:v>5</c:v>
                </c:pt>
                <c:pt idx="176">
                  <c:v>8</c:v>
                </c:pt>
                <c:pt idx="177">
                  <c:v>17</c:v>
                </c:pt>
                <c:pt idx="178">
                  <c:v>3</c:v>
                </c:pt>
              </c:numCache>
            </c:numRef>
          </c:val>
          <c:extLst>
            <c:ext xmlns:c16="http://schemas.microsoft.com/office/drawing/2014/chart" uri="{C3380CC4-5D6E-409C-BE32-E72D297353CC}">
              <c16:uniqueId val="{00000000-276C-4704-8212-EA79462ED914}"/>
            </c:ext>
          </c:extLst>
        </c:ser>
        <c:dLbls>
          <c:showLegendKey val="0"/>
          <c:showVal val="0"/>
          <c:showCatName val="0"/>
          <c:showSerName val="0"/>
          <c:showPercent val="0"/>
          <c:showBubbleSize val="0"/>
        </c:dLbls>
        <c:axId val="1460635648"/>
        <c:axId val="1460738816"/>
      </c:areaChart>
      <c:lineChart>
        <c:grouping val="standard"/>
        <c:varyColors val="0"/>
        <c:ser>
          <c:idx val="0"/>
          <c:order val="0"/>
          <c:tx>
            <c:strRef>
              <c:f>Sheet1!$C$1</c:f>
              <c:strCache>
                <c:ptCount val="1"/>
                <c:pt idx="0">
                  <c:v>Tractors</c:v>
                </c:pt>
              </c:strCache>
            </c:strRef>
          </c:tx>
          <c:spPr>
            <a:ln w="15875">
              <a:solidFill>
                <a:schemeClr val="tx1"/>
              </a:solidFill>
            </a:ln>
          </c:spPr>
          <c:marker>
            <c:symbol val="none"/>
          </c:marker>
          <c:cat>
            <c:numRef>
              <c:f>Sheet1!$B$2:$B$180</c:f>
              <c:numCache>
                <c:formatCode>General</c:formatCode>
                <c:ptCount val="179"/>
                <c:pt idx="0">
                  <c:v>2011</c:v>
                </c:pt>
                <c:pt idx="12">
                  <c:v>2012</c:v>
                </c:pt>
                <c:pt idx="24">
                  <c:v>2013</c:v>
                </c:pt>
                <c:pt idx="36">
                  <c:v>2014</c:v>
                </c:pt>
                <c:pt idx="48">
                  <c:v>2015</c:v>
                </c:pt>
                <c:pt idx="60">
                  <c:v>2016</c:v>
                </c:pt>
                <c:pt idx="72">
                  <c:v>2017</c:v>
                </c:pt>
                <c:pt idx="84">
                  <c:v>2018</c:v>
                </c:pt>
                <c:pt idx="96">
                  <c:v>2019</c:v>
                </c:pt>
                <c:pt idx="108">
                  <c:v>2020</c:v>
                </c:pt>
                <c:pt idx="120">
                  <c:v>2021</c:v>
                </c:pt>
                <c:pt idx="132">
                  <c:v>2022</c:v>
                </c:pt>
                <c:pt idx="144">
                  <c:v>2023</c:v>
                </c:pt>
                <c:pt idx="156">
                  <c:v>2024</c:v>
                </c:pt>
                <c:pt idx="168">
                  <c:v>2025</c:v>
                </c:pt>
              </c:numCache>
            </c:numRef>
          </c:cat>
          <c:val>
            <c:numRef>
              <c:f>Sheet1!$C$2:$C$180</c:f>
              <c:numCache>
                <c:formatCode>General</c:formatCode>
                <c:ptCount val="179"/>
                <c:pt idx="0">
                  <c:v>410</c:v>
                </c:pt>
                <c:pt idx="1">
                  <c:v>625</c:v>
                </c:pt>
                <c:pt idx="2">
                  <c:v>570</c:v>
                </c:pt>
                <c:pt idx="3">
                  <c:v>380</c:v>
                </c:pt>
                <c:pt idx="4">
                  <c:v>450</c:v>
                </c:pt>
                <c:pt idx="5">
                  <c:v>610</c:v>
                </c:pt>
                <c:pt idx="6">
                  <c:v>700</c:v>
                </c:pt>
                <c:pt idx="7">
                  <c:v>640</c:v>
                </c:pt>
                <c:pt idx="8">
                  <c:v>900</c:v>
                </c:pt>
                <c:pt idx="9">
                  <c:v>990</c:v>
                </c:pt>
                <c:pt idx="10">
                  <c:v>600</c:v>
                </c:pt>
                <c:pt idx="11">
                  <c:v>500</c:v>
                </c:pt>
                <c:pt idx="12">
                  <c:v>790</c:v>
                </c:pt>
                <c:pt idx="13">
                  <c:v>800</c:v>
                </c:pt>
                <c:pt idx="14">
                  <c:v>645</c:v>
                </c:pt>
                <c:pt idx="15">
                  <c:v>528</c:v>
                </c:pt>
                <c:pt idx="16">
                  <c:v>700</c:v>
                </c:pt>
                <c:pt idx="17">
                  <c:v>710</c:v>
                </c:pt>
                <c:pt idx="18">
                  <c:v>650</c:v>
                </c:pt>
                <c:pt idx="19">
                  <c:v>630</c:v>
                </c:pt>
                <c:pt idx="20">
                  <c:v>630</c:v>
                </c:pt>
                <c:pt idx="21">
                  <c:v>1000</c:v>
                </c:pt>
                <c:pt idx="22">
                  <c:v>550</c:v>
                </c:pt>
                <c:pt idx="23">
                  <c:v>340</c:v>
                </c:pt>
                <c:pt idx="24">
                  <c:v>684</c:v>
                </c:pt>
                <c:pt idx="25">
                  <c:v>827</c:v>
                </c:pt>
                <c:pt idx="26">
                  <c:v>595</c:v>
                </c:pt>
                <c:pt idx="27">
                  <c:v>555</c:v>
                </c:pt>
                <c:pt idx="28">
                  <c:v>580</c:v>
                </c:pt>
                <c:pt idx="29">
                  <c:v>656</c:v>
                </c:pt>
                <c:pt idx="30">
                  <c:v>660</c:v>
                </c:pt>
                <c:pt idx="31">
                  <c:v>502</c:v>
                </c:pt>
                <c:pt idx="32">
                  <c:v>523</c:v>
                </c:pt>
                <c:pt idx="33">
                  <c:v>940</c:v>
                </c:pt>
                <c:pt idx="34">
                  <c:v>540</c:v>
                </c:pt>
                <c:pt idx="35">
                  <c:v>350</c:v>
                </c:pt>
                <c:pt idx="36">
                  <c:v>690</c:v>
                </c:pt>
                <c:pt idx="37">
                  <c:v>685</c:v>
                </c:pt>
                <c:pt idx="38">
                  <c:v>573</c:v>
                </c:pt>
                <c:pt idx="39">
                  <c:v>610</c:v>
                </c:pt>
                <c:pt idx="40">
                  <c:v>505</c:v>
                </c:pt>
                <c:pt idx="41">
                  <c:v>560</c:v>
                </c:pt>
                <c:pt idx="42">
                  <c:v>575</c:v>
                </c:pt>
                <c:pt idx="43">
                  <c:v>582</c:v>
                </c:pt>
                <c:pt idx="44">
                  <c:v>588</c:v>
                </c:pt>
                <c:pt idx="46">
                  <c:v>482</c:v>
                </c:pt>
                <c:pt idx="47">
                  <c:v>344</c:v>
                </c:pt>
                <c:pt idx="48">
                  <c:v>555</c:v>
                </c:pt>
                <c:pt idx="49">
                  <c:v>605</c:v>
                </c:pt>
                <c:pt idx="50">
                  <c:v>498</c:v>
                </c:pt>
                <c:pt idx="52">
                  <c:v>450</c:v>
                </c:pt>
                <c:pt idx="55">
                  <c:v>589</c:v>
                </c:pt>
                <c:pt idx="56">
                  <c:v>637</c:v>
                </c:pt>
                <c:pt idx="57">
                  <c:v>678</c:v>
                </c:pt>
                <c:pt idx="59">
                  <c:v>273</c:v>
                </c:pt>
                <c:pt idx="60">
                  <c:v>580</c:v>
                </c:pt>
                <c:pt idx="61">
                  <c:v>731</c:v>
                </c:pt>
                <c:pt idx="62">
                  <c:v>434</c:v>
                </c:pt>
                <c:pt idx="63">
                  <c:v>400</c:v>
                </c:pt>
                <c:pt idx="64">
                  <c:v>422</c:v>
                </c:pt>
                <c:pt idx="65">
                  <c:v>385</c:v>
                </c:pt>
                <c:pt idx="67">
                  <c:v>460</c:v>
                </c:pt>
                <c:pt idx="68">
                  <c:v>623</c:v>
                </c:pt>
                <c:pt idx="69">
                  <c:v>567</c:v>
                </c:pt>
                <c:pt idx="71">
                  <c:v>349</c:v>
                </c:pt>
                <c:pt idx="72">
                  <c:v>478</c:v>
                </c:pt>
                <c:pt idx="73">
                  <c:v>675</c:v>
                </c:pt>
                <c:pt idx="74">
                  <c:v>515</c:v>
                </c:pt>
                <c:pt idx="75">
                  <c:v>398</c:v>
                </c:pt>
                <c:pt idx="76">
                  <c:v>497</c:v>
                </c:pt>
                <c:pt idx="77">
                  <c:v>479</c:v>
                </c:pt>
                <c:pt idx="78">
                  <c:v>508</c:v>
                </c:pt>
                <c:pt idx="79">
                  <c:v>591</c:v>
                </c:pt>
                <c:pt idx="80">
                  <c:v>571</c:v>
                </c:pt>
                <c:pt idx="82">
                  <c:v>589</c:v>
                </c:pt>
                <c:pt idx="84">
                  <c:v>546</c:v>
                </c:pt>
                <c:pt idx="85">
                  <c:v>604</c:v>
                </c:pt>
                <c:pt idx="86">
                  <c:v>726</c:v>
                </c:pt>
                <c:pt idx="88">
                  <c:v>501</c:v>
                </c:pt>
                <c:pt idx="89">
                  <c:v>576</c:v>
                </c:pt>
                <c:pt idx="90">
                  <c:v>525</c:v>
                </c:pt>
                <c:pt idx="91">
                  <c:v>487</c:v>
                </c:pt>
                <c:pt idx="92">
                  <c:v>610</c:v>
                </c:pt>
                <c:pt idx="93">
                  <c:v>817</c:v>
                </c:pt>
                <c:pt idx="94">
                  <c:v>428</c:v>
                </c:pt>
                <c:pt idx="95">
                  <c:v>434</c:v>
                </c:pt>
                <c:pt idx="96">
                  <c:v>388</c:v>
                </c:pt>
                <c:pt idx="97">
                  <c:v>526</c:v>
                </c:pt>
                <c:pt idx="98">
                  <c:v>600</c:v>
                </c:pt>
                <c:pt idx="99">
                  <c:v>432</c:v>
                </c:pt>
                <c:pt idx="100">
                  <c:v>364</c:v>
                </c:pt>
                <c:pt idx="101">
                  <c:v>373</c:v>
                </c:pt>
                <c:pt idx="102">
                  <c:v>368</c:v>
                </c:pt>
                <c:pt idx="103">
                  <c:v>437</c:v>
                </c:pt>
                <c:pt idx="104">
                  <c:v>431</c:v>
                </c:pt>
                <c:pt idx="105">
                  <c:v>575</c:v>
                </c:pt>
                <c:pt idx="106">
                  <c:v>427</c:v>
                </c:pt>
                <c:pt idx="107">
                  <c:v>349</c:v>
                </c:pt>
                <c:pt idx="108">
                  <c:v>348</c:v>
                </c:pt>
                <c:pt idx="109">
                  <c:v>485</c:v>
                </c:pt>
                <c:pt idx="110">
                  <c:v>463</c:v>
                </c:pt>
                <c:pt idx="111">
                  <c:v>440</c:v>
                </c:pt>
                <c:pt idx="112">
                  <c:v>459</c:v>
                </c:pt>
                <c:pt idx="113">
                  <c:v>414</c:v>
                </c:pt>
                <c:pt idx="114">
                  <c:v>470</c:v>
                </c:pt>
                <c:pt idx="115">
                  <c:v>465</c:v>
                </c:pt>
                <c:pt idx="116">
                  <c:v>561</c:v>
                </c:pt>
                <c:pt idx="117">
                  <c:v>825</c:v>
                </c:pt>
                <c:pt idx="118">
                  <c:v>593</c:v>
                </c:pt>
                <c:pt idx="119">
                  <c:v>460</c:v>
                </c:pt>
                <c:pt idx="120">
                  <c:v>445</c:v>
                </c:pt>
                <c:pt idx="121">
                  <c:v>665</c:v>
                </c:pt>
                <c:pt idx="122">
                  <c:v>611</c:v>
                </c:pt>
                <c:pt idx="123">
                  <c:v>557</c:v>
                </c:pt>
                <c:pt idx="124">
                  <c:v>554</c:v>
                </c:pt>
                <c:pt idx="125">
                  <c:v>652</c:v>
                </c:pt>
                <c:pt idx="126">
                  <c:v>592</c:v>
                </c:pt>
                <c:pt idx="127">
                  <c:v>766</c:v>
                </c:pt>
                <c:pt idx="128">
                  <c:v>748</c:v>
                </c:pt>
                <c:pt idx="129">
                  <c:v>856</c:v>
                </c:pt>
                <c:pt idx="130">
                  <c:v>742</c:v>
                </c:pt>
                <c:pt idx="131">
                  <c:v>660</c:v>
                </c:pt>
                <c:pt idx="132">
                  <c:v>559</c:v>
                </c:pt>
                <c:pt idx="133">
                  <c:v>795</c:v>
                </c:pt>
                <c:pt idx="134">
                  <c:v>641</c:v>
                </c:pt>
                <c:pt idx="135">
                  <c:v>559</c:v>
                </c:pt>
                <c:pt idx="136">
                  <c:v>752</c:v>
                </c:pt>
                <c:pt idx="137">
                  <c:v>824</c:v>
                </c:pt>
                <c:pt idx="138">
                  <c:v>777</c:v>
                </c:pt>
                <c:pt idx="139">
                  <c:v>792</c:v>
                </c:pt>
                <c:pt idx="140">
                  <c:v>777</c:v>
                </c:pt>
                <c:pt idx="141">
                  <c:v>1268</c:v>
                </c:pt>
                <c:pt idx="142">
                  <c:v>703</c:v>
                </c:pt>
                <c:pt idx="143">
                  <c:v>729</c:v>
                </c:pt>
                <c:pt idx="144">
                  <c:v>475</c:v>
                </c:pt>
                <c:pt idx="145">
                  <c:v>781</c:v>
                </c:pt>
                <c:pt idx="146">
                  <c:v>677</c:v>
                </c:pt>
                <c:pt idx="147">
                  <c:v>543</c:v>
                </c:pt>
                <c:pt idx="148">
                  <c:v>655</c:v>
                </c:pt>
                <c:pt idx="149">
                  <c:v>930</c:v>
                </c:pt>
                <c:pt idx="150">
                  <c:v>660</c:v>
                </c:pt>
                <c:pt idx="151">
                  <c:v>697</c:v>
                </c:pt>
                <c:pt idx="152">
                  <c:v>715</c:v>
                </c:pt>
                <c:pt idx="153">
                  <c:v>1031</c:v>
                </c:pt>
                <c:pt idx="154">
                  <c:v>685</c:v>
                </c:pt>
                <c:pt idx="155">
                  <c:v>530</c:v>
                </c:pt>
                <c:pt idx="156">
                  <c:v>358</c:v>
                </c:pt>
                <c:pt idx="157">
                  <c:v>527</c:v>
                </c:pt>
                <c:pt idx="158">
                  <c:v>498</c:v>
                </c:pt>
                <c:pt idx="159">
                  <c:v>500</c:v>
                </c:pt>
                <c:pt idx="160">
                  <c:v>566</c:v>
                </c:pt>
                <c:pt idx="161">
                  <c:v>487</c:v>
                </c:pt>
                <c:pt idx="162">
                  <c:v>563</c:v>
                </c:pt>
                <c:pt idx="163">
                  <c:v>574</c:v>
                </c:pt>
                <c:pt idx="164">
                  <c:v>660</c:v>
                </c:pt>
                <c:pt idx="165">
                  <c:v>765</c:v>
                </c:pt>
                <c:pt idx="166">
                  <c:v>523</c:v>
                </c:pt>
                <c:pt idx="167">
                  <c:v>444</c:v>
                </c:pt>
                <c:pt idx="168">
                  <c:v>457</c:v>
                </c:pt>
                <c:pt idx="169">
                  <c:v>638</c:v>
                </c:pt>
                <c:pt idx="170">
                  <c:v>671</c:v>
                </c:pt>
                <c:pt idx="171">
                  <c:v>527</c:v>
                </c:pt>
                <c:pt idx="172">
                  <c:v>635</c:v>
                </c:pt>
                <c:pt idx="173">
                  <c:v>636</c:v>
                </c:pt>
                <c:pt idx="174">
                  <c:v>753</c:v>
                </c:pt>
                <c:pt idx="175">
                  <c:v>700</c:v>
                </c:pt>
                <c:pt idx="176">
                  <c:v>758</c:v>
                </c:pt>
                <c:pt idx="177">
                  <c:v>857</c:v>
                </c:pt>
                <c:pt idx="178">
                  <c:v>533</c:v>
                </c:pt>
              </c:numCache>
            </c:numRef>
          </c:val>
          <c:smooth val="0"/>
          <c:extLst>
            <c:ext xmlns:c16="http://schemas.microsoft.com/office/drawing/2014/chart" uri="{C3380CC4-5D6E-409C-BE32-E72D297353CC}">
              <c16:uniqueId val="{00000001-276C-4704-8212-EA79462ED914}"/>
            </c:ext>
          </c:extLst>
        </c:ser>
        <c:dLbls>
          <c:showLegendKey val="0"/>
          <c:showVal val="0"/>
          <c:showCatName val="0"/>
          <c:showSerName val="0"/>
          <c:showPercent val="0"/>
          <c:showBubbleSize val="0"/>
        </c:dLbls>
        <c:marker val="1"/>
        <c:smooth val="0"/>
        <c:axId val="121697792"/>
        <c:axId val="89359488"/>
      </c:lineChart>
      <c:catAx>
        <c:axId val="121697792"/>
        <c:scaling>
          <c:orientation val="minMax"/>
        </c:scaling>
        <c:delete val="0"/>
        <c:axPos val="b"/>
        <c:title>
          <c:tx>
            <c:rich>
              <a:bodyPr/>
              <a:lstStyle/>
              <a:p>
                <a:pPr>
                  <a:defRPr/>
                </a:pPr>
                <a:r>
                  <a:rPr lang="en-US"/>
                  <a:t>Years</a:t>
                </a:r>
              </a:p>
            </c:rich>
          </c:tx>
          <c:overlay val="0"/>
        </c:title>
        <c:numFmt formatCode="General" sourceLinked="1"/>
        <c:majorTickMark val="out"/>
        <c:minorTickMark val="none"/>
        <c:tickLblPos val="nextTo"/>
        <c:txPr>
          <a:bodyPr rot="960000"/>
          <a:lstStyle/>
          <a:p>
            <a:pPr>
              <a:defRPr/>
            </a:pPr>
            <a:endParaRPr lang="en-US"/>
          </a:p>
        </c:txPr>
        <c:crossAx val="89359488"/>
        <c:crosses val="autoZero"/>
        <c:auto val="1"/>
        <c:lblAlgn val="ctr"/>
        <c:lblOffset val="100"/>
        <c:noMultiLvlLbl val="0"/>
      </c:catAx>
      <c:valAx>
        <c:axId val="89359488"/>
        <c:scaling>
          <c:orientation val="minMax"/>
        </c:scaling>
        <c:delete val="0"/>
        <c:axPos val="l"/>
        <c:majorGridlines/>
        <c:title>
          <c:tx>
            <c:rich>
              <a:bodyPr/>
              <a:lstStyle/>
              <a:p>
                <a:pPr>
                  <a:defRPr/>
                </a:pPr>
                <a:r>
                  <a:rPr lang="en-US"/>
                  <a:t>Tractor Units</a:t>
                </a:r>
              </a:p>
            </c:rich>
          </c:tx>
          <c:overlay val="0"/>
        </c:title>
        <c:numFmt formatCode="General" sourceLinked="1"/>
        <c:majorTickMark val="out"/>
        <c:minorTickMark val="none"/>
        <c:tickLblPos val="nextTo"/>
        <c:crossAx val="121697792"/>
        <c:crosses val="autoZero"/>
        <c:crossBetween val="between"/>
      </c:valAx>
      <c:valAx>
        <c:axId val="1460738816"/>
        <c:scaling>
          <c:orientation val="minMax"/>
        </c:scaling>
        <c:delete val="0"/>
        <c:axPos val="r"/>
        <c:title>
          <c:tx>
            <c:rich>
              <a:bodyPr/>
              <a:lstStyle/>
              <a:p>
                <a:pPr>
                  <a:defRPr/>
                </a:pPr>
                <a:r>
                  <a:rPr lang="en-US"/>
                  <a:t>Combine Units</a:t>
                </a:r>
              </a:p>
            </c:rich>
          </c:tx>
          <c:overlay val="0"/>
        </c:title>
        <c:numFmt formatCode="General" sourceLinked="1"/>
        <c:majorTickMark val="out"/>
        <c:minorTickMark val="none"/>
        <c:tickLblPos val="nextTo"/>
        <c:crossAx val="1460635648"/>
        <c:crosses val="max"/>
        <c:crossBetween val="between"/>
      </c:valAx>
      <c:catAx>
        <c:axId val="1460635648"/>
        <c:scaling>
          <c:orientation val="minMax"/>
        </c:scaling>
        <c:delete val="1"/>
        <c:axPos val="b"/>
        <c:numFmt formatCode="General" sourceLinked="1"/>
        <c:majorTickMark val="out"/>
        <c:minorTickMark val="none"/>
        <c:tickLblPos val="nextTo"/>
        <c:crossAx val="1460738816"/>
        <c:crosses val="autoZero"/>
        <c:auto val="1"/>
        <c:lblAlgn val="ctr"/>
        <c:lblOffset val="100"/>
        <c:noMultiLvlLbl val="0"/>
      </c:catAx>
      <c:spPr>
        <a:blipFill dpi="0" rotWithShape="1">
          <a:blip xmlns:r="http://schemas.openxmlformats.org/officeDocument/2006/relationships" r:embed="rId1">
            <a:alphaModFix amt="24000"/>
          </a:blip>
          <a:srcRect/>
          <a:stretch>
            <a:fillRect/>
          </a:stretch>
        </a:blipFill>
      </c:spPr>
    </c:plotArea>
    <c:legend>
      <c:legendPos val="b"/>
      <c:overlay val="0"/>
    </c:legend>
    <c:plotVisOnly val="0"/>
    <c:dispBlanksAs val="span"/>
    <c:showDLblsOverMax val="0"/>
  </c:chart>
  <c:spPr>
    <a:ln>
      <a:noFill/>
    </a:ln>
  </c:sp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1/15/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044656"/>
            <a:ext cx="10945216" cy="2354642"/>
          </a:xfrm>
        </p:spPr>
        <p:txBody>
          <a:bodyPr>
            <a:normAutofit/>
          </a:bodyPr>
          <a:lstStyle/>
          <a:p>
            <a:r>
              <a:rPr lang="en-US" sz="3600" dirty="0"/>
              <a:t>Monthly report on Tractor and Combine Harvester Sales</a:t>
            </a:r>
            <a:endParaRPr lang="en-ZA" sz="32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October 2025</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Department of Agriculture</a:t>
            </a:r>
          </a:p>
        </p:txBody>
      </p:sp>
    </p:spTree>
    <p:extLst>
      <p:ext uri="{BB962C8B-B14F-4D97-AF65-F5344CB8AC3E}">
        <p14:creationId xmlns:p14="http://schemas.microsoft.com/office/powerpoint/2010/main" val="1909661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416B4C9-6B1A-4718-591A-2F8973258789}"/>
              </a:ext>
            </a:extLst>
          </p:cNvPr>
          <p:cNvSpPr>
            <a:spLocks noGrp="1"/>
          </p:cNvSpPr>
          <p:nvPr>
            <p:ph type="title"/>
          </p:nvPr>
        </p:nvSpPr>
        <p:spPr/>
        <p:txBody>
          <a:bodyPr/>
          <a:lstStyle/>
          <a:p>
            <a:r>
              <a:rPr lang="en-US" dirty="0"/>
              <a:t>INDEMNITY</a:t>
            </a:r>
            <a:endParaRPr lang="en-ZA" dirty="0"/>
          </a:p>
        </p:txBody>
      </p:sp>
      <p:sp>
        <p:nvSpPr>
          <p:cNvPr id="11" name="Text Placeholder 10">
            <a:extLst>
              <a:ext uri="{FF2B5EF4-FFF2-40B4-BE49-F238E27FC236}">
                <a16:creationId xmlns:a16="http://schemas.microsoft.com/office/drawing/2014/main" id="{25BCE773-7CE3-EDA7-92BC-972E142C61F8}"/>
              </a:ext>
            </a:extLst>
          </p:cNvPr>
          <p:cNvSpPr>
            <a:spLocks noGrp="1"/>
          </p:cNvSpPr>
          <p:nvPr>
            <p:ph type="body" sz="quarter" idx="10"/>
          </p:nvPr>
        </p:nvSpPr>
        <p:spPr>
          <a:xfrm>
            <a:off x="2281727" y="2008262"/>
            <a:ext cx="8024501" cy="4084564"/>
          </a:xfrm>
        </p:spPr>
        <p:txBody>
          <a:bodyPr/>
          <a:lstStyle/>
          <a:p>
            <a:pPr algn="just">
              <a:lnSpc>
                <a:spcPct val="150000"/>
              </a:lnSpc>
            </a:pPr>
            <a:r>
              <a:rPr lang="en-US" dirty="0">
                <a:solidFill>
                  <a:schemeClr val="bg1">
                    <a:lumMod val="50000"/>
                  </a:schemeClr>
                </a:solidFill>
              </a:rPr>
              <a:t>The Western Cape Department of Agriculture prepared this data/information as accurately as possible. However, as this document contains data from various sources, its correctness cannot be guaranteed. Any person using this information will be doing so at own risk and the said organisation or any other party will under no circumstances be responsible for any loss suffered by any person/organisation using the information contained in this document.</a:t>
            </a:r>
            <a:endParaRPr lang="en-ZA" dirty="0">
              <a:solidFill>
                <a:schemeClr val="bg1">
                  <a:lumMod val="50000"/>
                </a:schemeClr>
              </a:solidFill>
            </a:endParaRPr>
          </a:p>
        </p:txBody>
      </p:sp>
    </p:spTree>
    <p:extLst>
      <p:ext uri="{BB962C8B-B14F-4D97-AF65-F5344CB8AC3E}">
        <p14:creationId xmlns:p14="http://schemas.microsoft.com/office/powerpoint/2010/main" val="631091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BC52C-D347-0304-4DFE-854F7FE4914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08A0EE1-472C-9137-1FE8-3703E68AE027}"/>
              </a:ext>
            </a:extLst>
          </p:cNvPr>
          <p:cNvSpPr>
            <a:spLocks noGrp="1"/>
          </p:cNvSpPr>
          <p:nvPr>
            <p:ph type="title"/>
          </p:nvPr>
        </p:nvSpPr>
        <p:spPr/>
        <p:txBody>
          <a:bodyPr/>
          <a:lstStyle/>
          <a:p>
            <a:r>
              <a:rPr lang="en-US" dirty="0"/>
              <a:t>Tractor and Combine Harvester Sales</a:t>
            </a:r>
            <a:endParaRPr lang="en-ZA" dirty="0"/>
          </a:p>
        </p:txBody>
      </p:sp>
      <p:graphicFrame>
        <p:nvGraphicFramePr>
          <p:cNvPr id="2" name="Chart 1">
            <a:extLst>
              <a:ext uri="{FF2B5EF4-FFF2-40B4-BE49-F238E27FC236}">
                <a16:creationId xmlns:a16="http://schemas.microsoft.com/office/drawing/2014/main" id="{00000000-0008-0000-0000-000002000000}"/>
              </a:ext>
            </a:extLst>
          </p:cNvPr>
          <p:cNvGraphicFramePr>
            <a:graphicFrameLocks/>
          </p:cNvGraphicFramePr>
          <p:nvPr/>
        </p:nvGraphicFramePr>
        <p:xfrm>
          <a:off x="1262062" y="555171"/>
          <a:ext cx="9667875" cy="574765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29811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ADE9C-231F-61E2-76C4-DED7ECFCB7C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C991E5E-4AF0-C443-3BF7-AE5DFC587BC7}"/>
              </a:ext>
            </a:extLst>
          </p:cNvPr>
          <p:cNvSpPr>
            <a:spLocks noGrp="1"/>
          </p:cNvSpPr>
          <p:nvPr>
            <p:ph type="title"/>
          </p:nvPr>
        </p:nvSpPr>
        <p:spPr/>
        <p:txBody>
          <a:bodyPr/>
          <a:lstStyle/>
          <a:p>
            <a:r>
              <a:rPr lang="en-US" dirty="0"/>
              <a:t>SOURCE</a:t>
            </a:r>
            <a:endParaRPr lang="en-ZA" dirty="0"/>
          </a:p>
        </p:txBody>
      </p:sp>
      <p:sp>
        <p:nvSpPr>
          <p:cNvPr id="11" name="Text Placeholder 10">
            <a:extLst>
              <a:ext uri="{FF2B5EF4-FFF2-40B4-BE49-F238E27FC236}">
                <a16:creationId xmlns:a16="http://schemas.microsoft.com/office/drawing/2014/main" id="{C6DA2236-559B-3C0C-49A7-EA3DEA999FCE}"/>
              </a:ext>
            </a:extLst>
          </p:cNvPr>
          <p:cNvSpPr>
            <a:spLocks noGrp="1"/>
          </p:cNvSpPr>
          <p:nvPr>
            <p:ph type="body" sz="quarter" idx="10"/>
          </p:nvPr>
        </p:nvSpPr>
        <p:spPr/>
        <p:txBody>
          <a:bodyPr/>
          <a:lstStyle/>
          <a:p>
            <a:r>
              <a:rPr lang="en-US" dirty="0"/>
              <a:t>DATA SUPPLIED BY:  https://www.saama.co.za/</a:t>
            </a:r>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p:txBody>
      </p:sp>
      <p:pic>
        <p:nvPicPr>
          <p:cNvPr id="4" name="Picture 3">
            <a:extLst>
              <a:ext uri="{FF2B5EF4-FFF2-40B4-BE49-F238E27FC236}">
                <a16:creationId xmlns:a16="http://schemas.microsoft.com/office/drawing/2014/main" id="{76C4CFFE-80B1-0913-E789-96493709211D}"/>
              </a:ext>
            </a:extLst>
          </p:cNvPr>
          <p:cNvPicPr>
            <a:picLocks noChangeAspect="1"/>
          </p:cNvPicPr>
          <p:nvPr/>
        </p:nvPicPr>
        <p:blipFill>
          <a:blip r:embed="rId2"/>
          <a:stretch>
            <a:fillRect/>
          </a:stretch>
        </p:blipFill>
        <p:spPr>
          <a:xfrm>
            <a:off x="4595812" y="2995612"/>
            <a:ext cx="3000375" cy="866775"/>
          </a:xfrm>
          <a:prstGeom prst="rect">
            <a:avLst/>
          </a:prstGeom>
        </p:spPr>
      </p:pic>
    </p:spTree>
    <p:extLst>
      <p:ext uri="{BB962C8B-B14F-4D97-AF65-F5344CB8AC3E}">
        <p14:creationId xmlns:p14="http://schemas.microsoft.com/office/powerpoint/2010/main" val="2719191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J Murdoch</a:t>
            </a:r>
          </a:p>
        </p:txBody>
      </p:sp>
    </p:spTree>
    <p:extLst>
      <p:ext uri="{BB962C8B-B14F-4D97-AF65-F5344CB8AC3E}">
        <p14:creationId xmlns:p14="http://schemas.microsoft.com/office/powerpoint/2010/main" val="2767394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380</TotalTime>
  <Words>133</Words>
  <Application>Microsoft Office PowerPoint</Application>
  <PresentationFormat>Widescreen</PresentationFormat>
  <Paragraphs>21</Paragraphs>
  <Slides>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Century Gothic</vt:lpstr>
      <vt:lpstr>WCG-PPT Master-121022-amc</vt:lpstr>
      <vt:lpstr>think-cell Slide</vt:lpstr>
      <vt:lpstr>PowerPoint Presentation</vt:lpstr>
      <vt:lpstr>INDEMNITY</vt:lpstr>
      <vt:lpstr>Tractor and Combine Harvester Sales</vt:lpstr>
      <vt:lpstr>SOURCE</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Murdoch, Jacques</cp:lastModifiedBy>
  <cp:revision>1517</cp:revision>
  <cp:lastPrinted>2019-01-28T07:09:01Z</cp:lastPrinted>
  <dcterms:created xsi:type="dcterms:W3CDTF">2017-01-19T08:56:34Z</dcterms:created>
  <dcterms:modified xsi:type="dcterms:W3CDTF">2026-01-15T08:00:03Z</dcterms:modified>
</cp:coreProperties>
</file>